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57" r:id="rId2"/>
  </p:sldIdLst>
  <p:sldSz cx="7556500" cy="10693400"/>
  <p:notesSz cx="6858000" cy="9144000"/>
  <p:embeddedFontLst>
    <p:embeddedFont>
      <p:font typeface="Moontime" panose="00000500000000000000" pitchFamily="2" charset="0"/>
      <p:regular r:id="rId3"/>
    </p:embeddedFont>
    <p:embeddedFont>
      <p:font typeface="Quicksand" pitchFamily="2" charset="0"/>
      <p:regular r:id="rId4"/>
      <p:bold r:id="rId5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9CA4"/>
    <a:srgbClr val="FFFFFF"/>
    <a:srgbClr val="EAE6E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 autoAdjust="0"/>
    <p:restoredTop sz="94622" autoAdjust="0"/>
  </p:normalViewPr>
  <p:slideViewPr>
    <p:cSldViewPr>
      <p:cViewPr>
        <p:scale>
          <a:sx n="75" d="100"/>
          <a:sy n="75" d="100"/>
        </p:scale>
        <p:origin x="1512" y="-3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font" Target="fonts/font1.fntdata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font" Target="fonts/font3.fntdata"/><Relationship Id="rId4" Type="http://schemas.openxmlformats.org/officeDocument/2006/relationships/font" Target="fonts/font2.fntdata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2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2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2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68" userDrawn="1">
          <p15:clr>
            <a:srgbClr val="FBAE40"/>
          </p15:clr>
        </p15:guide>
        <p15:guide id="2" pos="238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3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368" userDrawn="1">
          <p15:clr>
            <a:srgbClr val="F26B43"/>
          </p15:clr>
        </p15:guide>
        <p15:guide id="2" pos="2508" userDrawn="1">
          <p15:clr>
            <a:srgbClr val="F26B43"/>
          </p15:clr>
        </p15:guide>
        <p15:guide id="3" pos="4760" userDrawn="1">
          <p15:clr>
            <a:srgbClr val="F26B43"/>
          </p15:clr>
        </p15:guide>
        <p15:guide id="4" userDrawn="1">
          <p15:clr>
            <a:srgbClr val="F26B43"/>
          </p15:clr>
        </p15:guide>
        <p15:guide id="5" orient="horz" userDrawn="1">
          <p15:clr>
            <a:srgbClr val="F26B43"/>
          </p15:clr>
        </p15:guide>
        <p15:guide id="6" orient="horz" pos="672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1081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">
            <a:extLst>
              <a:ext uri="{FF2B5EF4-FFF2-40B4-BE49-F238E27FC236}">
                <a16:creationId xmlns:a16="http://schemas.microsoft.com/office/drawing/2014/main" id="{F80156CA-A843-D71B-B022-BAC5A1BE9BED}"/>
              </a:ext>
            </a:extLst>
          </p:cNvPr>
          <p:cNvGrpSpPr/>
          <p:nvPr/>
        </p:nvGrpSpPr>
        <p:grpSpPr>
          <a:xfrm>
            <a:off x="-2390519" y="-843250"/>
            <a:ext cx="12204960" cy="12179742"/>
            <a:chOff x="-2390519" y="-843250"/>
            <a:chExt cx="12204960" cy="12179742"/>
          </a:xfrm>
        </p:grpSpPr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67B8663C-6BD8-31A8-A89C-58526EBCF9DB}"/>
                </a:ext>
              </a:extLst>
            </p:cNvPr>
            <p:cNvSpPr/>
            <p:nvPr/>
          </p:nvSpPr>
          <p:spPr>
            <a:xfrm rot="19588827">
              <a:off x="-2390519" y="-843250"/>
              <a:ext cx="12204960" cy="12179742"/>
            </a:xfrm>
            <a:custGeom>
              <a:avLst/>
              <a:gdLst>
                <a:gd name="connsiteX0" fmla="*/ 7078095 w 12204960"/>
                <a:gd name="connsiteY0" fmla="*/ 11578922 h 12179742"/>
                <a:gd name="connsiteX1" fmla="*/ 6680126 w 12204960"/>
                <a:gd name="connsiteY1" fmla="*/ 12179742 h 12179742"/>
                <a:gd name="connsiteX2" fmla="*/ 5433059 w 12204960"/>
                <a:gd name="connsiteY2" fmla="*/ 12179742 h 12179742"/>
                <a:gd name="connsiteX3" fmla="*/ 4525992 w 12204960"/>
                <a:gd name="connsiteY3" fmla="*/ 11578922 h 12179742"/>
                <a:gd name="connsiteX4" fmla="*/ 7786692 w 12204960"/>
                <a:gd name="connsiteY4" fmla="*/ 10509141 h 12179742"/>
                <a:gd name="connsiteX5" fmla="*/ 7388724 w 12204960"/>
                <a:gd name="connsiteY5" fmla="*/ 11109960 h 12179742"/>
                <a:gd name="connsiteX6" fmla="*/ 3817994 w 12204960"/>
                <a:gd name="connsiteY6" fmla="*/ 11109961 h 12179742"/>
                <a:gd name="connsiteX7" fmla="*/ 2910927 w 12204960"/>
                <a:gd name="connsiteY7" fmla="*/ 10509141 h 12179742"/>
                <a:gd name="connsiteX8" fmla="*/ 8625968 w 12204960"/>
                <a:gd name="connsiteY8" fmla="*/ 9242074 h 12179742"/>
                <a:gd name="connsiteX9" fmla="*/ 8227999 w 12204960"/>
                <a:gd name="connsiteY9" fmla="*/ 9842892 h 12179742"/>
                <a:gd name="connsiteX10" fmla="*/ 1905082 w 12204960"/>
                <a:gd name="connsiteY10" fmla="*/ 9842893 h 12179742"/>
                <a:gd name="connsiteX11" fmla="*/ 998016 w 12204960"/>
                <a:gd name="connsiteY11" fmla="*/ 9242074 h 12179742"/>
                <a:gd name="connsiteX12" fmla="*/ 9365122 w 12204960"/>
                <a:gd name="connsiteY12" fmla="*/ 8126161 h 12179742"/>
                <a:gd name="connsiteX13" fmla="*/ 8967154 w 12204960"/>
                <a:gd name="connsiteY13" fmla="*/ 8726979 h 12179742"/>
                <a:gd name="connsiteX14" fmla="*/ 220369 w 12204960"/>
                <a:gd name="connsiteY14" fmla="*/ 8726979 h 12179742"/>
                <a:gd name="connsiteX15" fmla="*/ 0 w 12204960"/>
                <a:gd name="connsiteY15" fmla="*/ 8581012 h 12179742"/>
                <a:gd name="connsiteX16" fmla="*/ 301283 w 12204960"/>
                <a:gd name="connsiteY16" fmla="*/ 8126160 h 12179742"/>
                <a:gd name="connsiteX17" fmla="*/ 10113510 w 12204960"/>
                <a:gd name="connsiteY17" fmla="*/ 6996307 h 12179742"/>
                <a:gd name="connsiteX18" fmla="*/ 9715542 w 12204960"/>
                <a:gd name="connsiteY18" fmla="*/ 7597126 h 12179742"/>
                <a:gd name="connsiteX19" fmla="*/ 651703 w 12204960"/>
                <a:gd name="connsiteY19" fmla="*/ 7597125 h 12179742"/>
                <a:gd name="connsiteX20" fmla="*/ 1049671 w 12204960"/>
                <a:gd name="connsiteY20" fmla="*/ 6996306 h 12179742"/>
                <a:gd name="connsiteX21" fmla="*/ 10898756 w 12204960"/>
                <a:gd name="connsiteY21" fmla="*/ 5810809 h 12179742"/>
                <a:gd name="connsiteX22" fmla="*/ 10500788 w 12204960"/>
                <a:gd name="connsiteY22" fmla="*/ 6411628 h 12179742"/>
                <a:gd name="connsiteX23" fmla="*/ 1436948 w 12204960"/>
                <a:gd name="connsiteY23" fmla="*/ 6411628 h 12179742"/>
                <a:gd name="connsiteX24" fmla="*/ 1834917 w 12204960"/>
                <a:gd name="connsiteY24" fmla="*/ 5810808 h 12179742"/>
                <a:gd name="connsiteX25" fmla="*/ 11655927 w 12204960"/>
                <a:gd name="connsiteY25" fmla="*/ 4667696 h 12179742"/>
                <a:gd name="connsiteX26" fmla="*/ 11257959 w 12204960"/>
                <a:gd name="connsiteY26" fmla="*/ 5268515 h 12179742"/>
                <a:gd name="connsiteX27" fmla="*/ 2194119 w 12204960"/>
                <a:gd name="connsiteY27" fmla="*/ 5268515 h 12179742"/>
                <a:gd name="connsiteX28" fmla="*/ 2592088 w 12204960"/>
                <a:gd name="connsiteY28" fmla="*/ 4667696 h 12179742"/>
                <a:gd name="connsiteX29" fmla="*/ 11699227 w 12204960"/>
                <a:gd name="connsiteY29" fmla="*/ 3503828 h 12179742"/>
                <a:gd name="connsiteX30" fmla="*/ 12204960 w 12204960"/>
                <a:gd name="connsiteY30" fmla="*/ 3838813 h 12179742"/>
                <a:gd name="connsiteX31" fmla="*/ 12028878 w 12204960"/>
                <a:gd name="connsiteY31" fmla="*/ 4104647 h 12179742"/>
                <a:gd name="connsiteX32" fmla="*/ 2965039 w 12204960"/>
                <a:gd name="connsiteY32" fmla="*/ 4104646 h 12179742"/>
                <a:gd name="connsiteX33" fmla="*/ 3363007 w 12204960"/>
                <a:gd name="connsiteY33" fmla="*/ 3503827 h 12179742"/>
                <a:gd name="connsiteX34" fmla="*/ 9921981 w 12204960"/>
                <a:gd name="connsiteY34" fmla="*/ 2326622 h 12179742"/>
                <a:gd name="connsiteX35" fmla="*/ 10829047 w 12204960"/>
                <a:gd name="connsiteY35" fmla="*/ 2927441 h 12179742"/>
                <a:gd name="connsiteX36" fmla="*/ 3744792 w 12204960"/>
                <a:gd name="connsiteY36" fmla="*/ 2927441 h 12179742"/>
                <a:gd name="connsiteX37" fmla="*/ 4142760 w 12204960"/>
                <a:gd name="connsiteY37" fmla="*/ 2326622 h 12179742"/>
                <a:gd name="connsiteX38" fmla="*/ 8140987 w 12204960"/>
                <a:gd name="connsiteY38" fmla="*/ 1146934 h 12179742"/>
                <a:gd name="connsiteX39" fmla="*/ 9048052 w 12204960"/>
                <a:gd name="connsiteY39" fmla="*/ 1747753 h 12179742"/>
                <a:gd name="connsiteX40" fmla="*/ 4526189 w 12204960"/>
                <a:gd name="connsiteY40" fmla="*/ 1747753 h 12179742"/>
                <a:gd name="connsiteX41" fmla="*/ 4924157 w 12204960"/>
                <a:gd name="connsiteY41" fmla="*/ 1146934 h 12179742"/>
                <a:gd name="connsiteX42" fmla="*/ 6409443 w 12204960"/>
                <a:gd name="connsiteY42" fmla="*/ 0 h 12179742"/>
                <a:gd name="connsiteX43" fmla="*/ 7316510 w 12204960"/>
                <a:gd name="connsiteY43" fmla="*/ 600820 h 12179742"/>
                <a:gd name="connsiteX44" fmla="*/ 5285890 w 12204960"/>
                <a:gd name="connsiteY44" fmla="*/ 600820 h 12179742"/>
                <a:gd name="connsiteX45" fmla="*/ 5683859 w 12204960"/>
                <a:gd name="connsiteY45" fmla="*/ 0 h 12179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12204960" h="12179742">
                  <a:moveTo>
                    <a:pt x="7078095" y="11578922"/>
                  </a:moveTo>
                  <a:lnTo>
                    <a:pt x="6680126" y="12179742"/>
                  </a:lnTo>
                  <a:lnTo>
                    <a:pt x="5433059" y="12179742"/>
                  </a:lnTo>
                  <a:lnTo>
                    <a:pt x="4525992" y="11578922"/>
                  </a:lnTo>
                  <a:close/>
                  <a:moveTo>
                    <a:pt x="7786692" y="10509141"/>
                  </a:moveTo>
                  <a:lnTo>
                    <a:pt x="7388724" y="11109960"/>
                  </a:lnTo>
                  <a:lnTo>
                    <a:pt x="3817994" y="11109961"/>
                  </a:lnTo>
                  <a:lnTo>
                    <a:pt x="2910927" y="10509141"/>
                  </a:lnTo>
                  <a:close/>
                  <a:moveTo>
                    <a:pt x="8625968" y="9242074"/>
                  </a:moveTo>
                  <a:lnTo>
                    <a:pt x="8227999" y="9842892"/>
                  </a:lnTo>
                  <a:lnTo>
                    <a:pt x="1905082" y="9842893"/>
                  </a:lnTo>
                  <a:lnTo>
                    <a:pt x="998016" y="9242074"/>
                  </a:lnTo>
                  <a:close/>
                  <a:moveTo>
                    <a:pt x="9365122" y="8126161"/>
                  </a:moveTo>
                  <a:lnTo>
                    <a:pt x="8967154" y="8726979"/>
                  </a:lnTo>
                  <a:lnTo>
                    <a:pt x="220369" y="8726979"/>
                  </a:lnTo>
                  <a:lnTo>
                    <a:pt x="0" y="8581012"/>
                  </a:lnTo>
                  <a:lnTo>
                    <a:pt x="301283" y="8126160"/>
                  </a:lnTo>
                  <a:close/>
                  <a:moveTo>
                    <a:pt x="10113510" y="6996307"/>
                  </a:moveTo>
                  <a:lnTo>
                    <a:pt x="9715542" y="7597126"/>
                  </a:lnTo>
                  <a:lnTo>
                    <a:pt x="651703" y="7597125"/>
                  </a:lnTo>
                  <a:lnTo>
                    <a:pt x="1049671" y="6996306"/>
                  </a:lnTo>
                  <a:close/>
                  <a:moveTo>
                    <a:pt x="10898756" y="5810809"/>
                  </a:moveTo>
                  <a:lnTo>
                    <a:pt x="10500788" y="6411628"/>
                  </a:lnTo>
                  <a:lnTo>
                    <a:pt x="1436948" y="6411628"/>
                  </a:lnTo>
                  <a:lnTo>
                    <a:pt x="1834917" y="5810808"/>
                  </a:lnTo>
                  <a:close/>
                  <a:moveTo>
                    <a:pt x="11655927" y="4667696"/>
                  </a:moveTo>
                  <a:lnTo>
                    <a:pt x="11257959" y="5268515"/>
                  </a:lnTo>
                  <a:lnTo>
                    <a:pt x="2194119" y="5268515"/>
                  </a:lnTo>
                  <a:lnTo>
                    <a:pt x="2592088" y="4667696"/>
                  </a:lnTo>
                  <a:close/>
                  <a:moveTo>
                    <a:pt x="11699227" y="3503828"/>
                  </a:moveTo>
                  <a:lnTo>
                    <a:pt x="12204960" y="3838813"/>
                  </a:lnTo>
                  <a:lnTo>
                    <a:pt x="12028878" y="4104647"/>
                  </a:lnTo>
                  <a:lnTo>
                    <a:pt x="2965039" y="4104646"/>
                  </a:lnTo>
                  <a:lnTo>
                    <a:pt x="3363007" y="3503827"/>
                  </a:lnTo>
                  <a:close/>
                  <a:moveTo>
                    <a:pt x="9921981" y="2326622"/>
                  </a:moveTo>
                  <a:lnTo>
                    <a:pt x="10829047" y="2927441"/>
                  </a:lnTo>
                  <a:lnTo>
                    <a:pt x="3744792" y="2927441"/>
                  </a:lnTo>
                  <a:lnTo>
                    <a:pt x="4142760" y="2326622"/>
                  </a:lnTo>
                  <a:close/>
                  <a:moveTo>
                    <a:pt x="8140987" y="1146934"/>
                  </a:moveTo>
                  <a:lnTo>
                    <a:pt x="9048052" y="1747753"/>
                  </a:lnTo>
                  <a:lnTo>
                    <a:pt x="4526189" y="1747753"/>
                  </a:lnTo>
                  <a:lnTo>
                    <a:pt x="4924157" y="1146934"/>
                  </a:lnTo>
                  <a:close/>
                  <a:moveTo>
                    <a:pt x="6409443" y="0"/>
                  </a:moveTo>
                  <a:lnTo>
                    <a:pt x="7316510" y="600820"/>
                  </a:lnTo>
                  <a:lnTo>
                    <a:pt x="5285890" y="600820"/>
                  </a:lnTo>
                  <a:lnTo>
                    <a:pt x="568385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37"/>
            <p:cNvSpPr/>
            <p:nvPr/>
          </p:nvSpPr>
          <p:spPr>
            <a:xfrm>
              <a:off x="386461" y="422925"/>
              <a:ext cx="6783579" cy="9847551"/>
            </a:xfrm>
            <a:custGeom>
              <a:avLst/>
              <a:gdLst/>
              <a:ahLst/>
              <a:cxnLst/>
              <a:rect l="l" t="t" r="r" b="b"/>
              <a:pathLst>
                <a:path w="2676143" h="3884890">
                  <a:moveTo>
                    <a:pt x="0" y="0"/>
                  </a:moveTo>
                  <a:lnTo>
                    <a:pt x="2676143" y="0"/>
                  </a:lnTo>
                  <a:lnTo>
                    <a:pt x="2676143" y="3884890"/>
                  </a:lnTo>
                  <a:lnTo>
                    <a:pt x="0" y="3884890"/>
                  </a:lnTo>
                  <a:close/>
                </a:path>
              </a:pathLst>
            </a:custGeom>
            <a:solidFill>
              <a:srgbClr val="FFFFFF"/>
            </a:solidFill>
            <a:ln w="9525" cap="sq">
              <a:solidFill>
                <a:srgbClr val="D1081B"/>
              </a:solidFill>
              <a:prstDash val="solid"/>
              <a:miter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3DA478BA-8A5F-C90A-536E-C5372305868A}"/>
                </a:ext>
              </a:extLst>
            </p:cNvPr>
            <p:cNvGrpSpPr/>
            <p:nvPr/>
          </p:nvGrpSpPr>
          <p:grpSpPr>
            <a:xfrm>
              <a:off x="756000" y="2350484"/>
              <a:ext cx="6048000" cy="7551502"/>
              <a:chOff x="756000" y="2350484"/>
              <a:chExt cx="6048000" cy="7551502"/>
            </a:xfrm>
          </p:grpSpPr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70357B92-E672-240B-8B25-E1F3EBE7FA29}"/>
                  </a:ext>
                </a:extLst>
              </p:cNvPr>
              <p:cNvGrpSpPr/>
              <p:nvPr/>
            </p:nvGrpSpPr>
            <p:grpSpPr>
              <a:xfrm>
                <a:off x="756000" y="2352389"/>
                <a:ext cx="6048000" cy="7549597"/>
                <a:chOff x="756000" y="2352389"/>
                <a:chExt cx="6048000" cy="7549597"/>
              </a:xfrm>
            </p:grpSpPr>
            <p:sp>
              <p:nvSpPr>
                <p:cNvPr id="40" name="Freeform 40"/>
                <p:cNvSpPr/>
                <p:nvPr/>
              </p:nvSpPr>
              <p:spPr>
                <a:xfrm>
                  <a:off x="756000" y="2352389"/>
                  <a:ext cx="6048000" cy="754959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67467" h="2705605">
                      <a:moveTo>
                        <a:pt x="0" y="0"/>
                      </a:moveTo>
                      <a:lnTo>
                        <a:pt x="2167467" y="0"/>
                      </a:lnTo>
                      <a:lnTo>
                        <a:pt x="2167467" y="2705605"/>
                      </a:lnTo>
                      <a:lnTo>
                        <a:pt x="0" y="270560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sq">
                  <a:solidFill>
                    <a:srgbClr val="E69196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81" name="Freeform 81"/>
                <p:cNvSpPr/>
                <p:nvPr/>
              </p:nvSpPr>
              <p:spPr>
                <a:xfrm>
                  <a:off x="756000" y="2352389"/>
                  <a:ext cx="6048000" cy="3615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67467" h="129581">
                      <a:moveTo>
                        <a:pt x="0" y="0"/>
                      </a:moveTo>
                      <a:lnTo>
                        <a:pt x="2167467" y="0"/>
                      </a:lnTo>
                      <a:lnTo>
                        <a:pt x="2167467" y="129581"/>
                      </a:lnTo>
                      <a:lnTo>
                        <a:pt x="0" y="129581"/>
                      </a:lnTo>
                      <a:close/>
                    </a:path>
                  </a:pathLst>
                </a:custGeom>
                <a:solidFill>
                  <a:srgbClr val="D1081B"/>
                </a:solidFill>
                <a:ln w="9525" cap="sq">
                  <a:solidFill>
                    <a:srgbClr val="D1081B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40381E11-B3B5-B774-547D-052A5F77452A}"/>
                  </a:ext>
                </a:extLst>
              </p:cNvPr>
              <p:cNvGrpSpPr/>
              <p:nvPr/>
            </p:nvGrpSpPr>
            <p:grpSpPr>
              <a:xfrm>
                <a:off x="756000" y="2350484"/>
                <a:ext cx="6048000" cy="7546740"/>
                <a:chOff x="756000" y="2350484"/>
                <a:chExt cx="6048000" cy="7546740"/>
              </a:xfrm>
            </p:grpSpPr>
            <p:sp>
              <p:nvSpPr>
                <p:cNvPr id="42" name="AutoShape 42"/>
                <p:cNvSpPr/>
                <p:nvPr/>
              </p:nvSpPr>
              <p:spPr>
                <a:xfrm>
                  <a:off x="1262806" y="3077654"/>
                  <a:ext cx="5541193" cy="0"/>
                </a:xfrm>
                <a:prstGeom prst="line">
                  <a:avLst/>
                </a:prstGeom>
                <a:ln w="9525" cap="flat">
                  <a:solidFill>
                    <a:srgbClr val="D1081B">
                      <a:alpha val="40000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3" name="AutoShape 43"/>
                <p:cNvSpPr/>
                <p:nvPr/>
              </p:nvSpPr>
              <p:spPr>
                <a:xfrm>
                  <a:off x="1262806" y="3436579"/>
                  <a:ext cx="5541193" cy="0"/>
                </a:xfrm>
                <a:prstGeom prst="line">
                  <a:avLst/>
                </a:prstGeom>
                <a:ln w="9525" cap="flat">
                  <a:solidFill>
                    <a:srgbClr val="D1081B">
                      <a:alpha val="40000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4" name="AutoShape 44"/>
                <p:cNvSpPr/>
                <p:nvPr/>
              </p:nvSpPr>
              <p:spPr>
                <a:xfrm>
                  <a:off x="1262806" y="3795503"/>
                  <a:ext cx="5541193" cy="0"/>
                </a:xfrm>
                <a:prstGeom prst="line">
                  <a:avLst/>
                </a:prstGeom>
                <a:ln w="9525" cap="flat">
                  <a:solidFill>
                    <a:srgbClr val="D1081B">
                      <a:alpha val="40000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5" name="AutoShape 45"/>
                <p:cNvSpPr/>
                <p:nvPr/>
              </p:nvSpPr>
              <p:spPr>
                <a:xfrm>
                  <a:off x="1262806" y="4513353"/>
                  <a:ext cx="5541193" cy="0"/>
                </a:xfrm>
                <a:prstGeom prst="line">
                  <a:avLst/>
                </a:prstGeom>
                <a:ln w="9525" cap="flat">
                  <a:solidFill>
                    <a:srgbClr val="D1081B">
                      <a:alpha val="40000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6" name="AutoShape 46"/>
                <p:cNvSpPr/>
                <p:nvPr/>
              </p:nvSpPr>
              <p:spPr>
                <a:xfrm>
                  <a:off x="1262806" y="4872277"/>
                  <a:ext cx="5541193" cy="0"/>
                </a:xfrm>
                <a:prstGeom prst="line">
                  <a:avLst/>
                </a:prstGeom>
                <a:ln w="9525" cap="flat">
                  <a:solidFill>
                    <a:srgbClr val="D1081B">
                      <a:alpha val="40000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7" name="AutoShape 47"/>
                <p:cNvSpPr/>
                <p:nvPr/>
              </p:nvSpPr>
              <p:spPr>
                <a:xfrm>
                  <a:off x="1262806" y="5231202"/>
                  <a:ext cx="5541193" cy="0"/>
                </a:xfrm>
                <a:prstGeom prst="line">
                  <a:avLst/>
                </a:prstGeom>
                <a:ln w="9525" cap="flat">
                  <a:solidFill>
                    <a:srgbClr val="D1081B">
                      <a:alpha val="40000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8" name="AutoShape 48"/>
                <p:cNvSpPr/>
                <p:nvPr/>
              </p:nvSpPr>
              <p:spPr>
                <a:xfrm>
                  <a:off x="1262806" y="5949052"/>
                  <a:ext cx="5541193" cy="0"/>
                </a:xfrm>
                <a:prstGeom prst="line">
                  <a:avLst/>
                </a:prstGeom>
                <a:ln w="9525" cap="flat">
                  <a:solidFill>
                    <a:srgbClr val="D1081B">
                      <a:alpha val="40000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9" name="AutoShape 49"/>
                <p:cNvSpPr/>
                <p:nvPr/>
              </p:nvSpPr>
              <p:spPr>
                <a:xfrm>
                  <a:off x="1262806" y="6307976"/>
                  <a:ext cx="5541193" cy="0"/>
                </a:xfrm>
                <a:prstGeom prst="line">
                  <a:avLst/>
                </a:prstGeom>
                <a:ln w="9525" cap="flat">
                  <a:solidFill>
                    <a:srgbClr val="D1081B">
                      <a:alpha val="40000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0" name="AutoShape 50"/>
                <p:cNvSpPr/>
                <p:nvPr/>
              </p:nvSpPr>
              <p:spPr>
                <a:xfrm>
                  <a:off x="1262806" y="6666901"/>
                  <a:ext cx="5541193" cy="0"/>
                </a:xfrm>
                <a:prstGeom prst="line">
                  <a:avLst/>
                </a:prstGeom>
                <a:ln w="9525" cap="flat">
                  <a:solidFill>
                    <a:srgbClr val="D1081B">
                      <a:alpha val="40000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1" name="AutoShape 51"/>
                <p:cNvSpPr/>
                <p:nvPr/>
              </p:nvSpPr>
              <p:spPr>
                <a:xfrm>
                  <a:off x="1262806" y="7384750"/>
                  <a:ext cx="5541193" cy="0"/>
                </a:xfrm>
                <a:prstGeom prst="line">
                  <a:avLst/>
                </a:prstGeom>
                <a:ln w="9525" cap="flat">
                  <a:solidFill>
                    <a:srgbClr val="D1081B">
                      <a:alpha val="40000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2" name="AutoShape 52"/>
                <p:cNvSpPr/>
                <p:nvPr/>
              </p:nvSpPr>
              <p:spPr>
                <a:xfrm>
                  <a:off x="1262806" y="7743675"/>
                  <a:ext cx="5541193" cy="0"/>
                </a:xfrm>
                <a:prstGeom prst="line">
                  <a:avLst/>
                </a:prstGeom>
                <a:ln w="9525" cap="flat">
                  <a:solidFill>
                    <a:srgbClr val="D1081B">
                      <a:alpha val="40000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3" name="AutoShape 53"/>
                <p:cNvSpPr/>
                <p:nvPr/>
              </p:nvSpPr>
              <p:spPr>
                <a:xfrm>
                  <a:off x="1262806" y="8102600"/>
                  <a:ext cx="5541193" cy="0"/>
                </a:xfrm>
                <a:prstGeom prst="line">
                  <a:avLst/>
                </a:prstGeom>
                <a:ln w="9525" cap="flat">
                  <a:solidFill>
                    <a:srgbClr val="D1081B">
                      <a:alpha val="40000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4" name="AutoShape 54"/>
                <p:cNvSpPr/>
                <p:nvPr/>
              </p:nvSpPr>
              <p:spPr>
                <a:xfrm>
                  <a:off x="1262806" y="8820449"/>
                  <a:ext cx="5541193" cy="0"/>
                </a:xfrm>
                <a:prstGeom prst="line">
                  <a:avLst/>
                </a:prstGeom>
                <a:ln w="9525" cap="flat">
                  <a:solidFill>
                    <a:srgbClr val="D1081B">
                      <a:alpha val="40000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5" name="AutoShape 55"/>
                <p:cNvSpPr/>
                <p:nvPr/>
              </p:nvSpPr>
              <p:spPr>
                <a:xfrm>
                  <a:off x="1262806" y="9179374"/>
                  <a:ext cx="5541193" cy="0"/>
                </a:xfrm>
                <a:prstGeom prst="line">
                  <a:avLst/>
                </a:prstGeom>
                <a:ln w="9525" cap="flat">
                  <a:solidFill>
                    <a:srgbClr val="D1081B">
                      <a:alpha val="40000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6" name="AutoShape 56"/>
                <p:cNvSpPr/>
                <p:nvPr/>
              </p:nvSpPr>
              <p:spPr>
                <a:xfrm>
                  <a:off x="1262806" y="9538299"/>
                  <a:ext cx="5541193" cy="0"/>
                </a:xfrm>
                <a:prstGeom prst="line">
                  <a:avLst/>
                </a:prstGeom>
                <a:ln w="9525" cap="flat">
                  <a:solidFill>
                    <a:srgbClr val="D1081B">
                      <a:alpha val="40000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7" name="AutoShape 57"/>
                <p:cNvSpPr/>
                <p:nvPr/>
              </p:nvSpPr>
              <p:spPr>
                <a:xfrm>
                  <a:off x="756000" y="4154428"/>
                  <a:ext cx="6048000" cy="0"/>
                </a:xfrm>
                <a:prstGeom prst="line">
                  <a:avLst/>
                </a:prstGeom>
                <a:ln w="9525" cap="flat">
                  <a:solidFill>
                    <a:srgbClr val="D1081B">
                      <a:alpha val="40000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8" name="AutoShape 58"/>
                <p:cNvSpPr/>
                <p:nvPr/>
              </p:nvSpPr>
              <p:spPr>
                <a:xfrm flipH="1">
                  <a:off x="1262808" y="2350484"/>
                  <a:ext cx="0" cy="7546740"/>
                </a:xfrm>
                <a:prstGeom prst="line">
                  <a:avLst/>
                </a:prstGeom>
                <a:ln w="9525" cap="flat">
                  <a:solidFill>
                    <a:srgbClr val="D1081B">
                      <a:alpha val="40000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9" name="AutoShape 59"/>
                <p:cNvSpPr/>
                <p:nvPr/>
              </p:nvSpPr>
              <p:spPr>
                <a:xfrm flipH="1">
                  <a:off x="3108285" y="2350484"/>
                  <a:ext cx="0" cy="7546740"/>
                </a:xfrm>
                <a:prstGeom prst="line">
                  <a:avLst/>
                </a:prstGeom>
                <a:ln w="9525" cap="flat">
                  <a:solidFill>
                    <a:srgbClr val="D1081B">
                      <a:alpha val="40000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0" name="AutoShape 60"/>
                <p:cNvSpPr/>
                <p:nvPr/>
              </p:nvSpPr>
              <p:spPr>
                <a:xfrm flipH="1">
                  <a:off x="4953761" y="2350484"/>
                  <a:ext cx="0" cy="7546740"/>
                </a:xfrm>
                <a:prstGeom prst="line">
                  <a:avLst/>
                </a:prstGeom>
                <a:ln w="9525" cap="flat">
                  <a:solidFill>
                    <a:srgbClr val="D1081B">
                      <a:alpha val="40000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1" name="AutoShape 61"/>
                <p:cNvSpPr/>
                <p:nvPr/>
              </p:nvSpPr>
              <p:spPr>
                <a:xfrm>
                  <a:off x="756000" y="5590127"/>
                  <a:ext cx="6048000" cy="0"/>
                </a:xfrm>
                <a:prstGeom prst="line">
                  <a:avLst/>
                </a:prstGeom>
                <a:ln w="9525" cap="flat">
                  <a:solidFill>
                    <a:srgbClr val="D1081B">
                      <a:alpha val="40000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2" name="AutoShape 62"/>
                <p:cNvSpPr/>
                <p:nvPr/>
              </p:nvSpPr>
              <p:spPr>
                <a:xfrm>
                  <a:off x="756000" y="7025826"/>
                  <a:ext cx="6048000" cy="0"/>
                </a:xfrm>
                <a:prstGeom prst="line">
                  <a:avLst/>
                </a:prstGeom>
                <a:ln w="9525" cap="flat">
                  <a:solidFill>
                    <a:srgbClr val="D1081B">
                      <a:alpha val="40000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3" name="AutoShape 63"/>
                <p:cNvSpPr/>
                <p:nvPr/>
              </p:nvSpPr>
              <p:spPr>
                <a:xfrm>
                  <a:off x="756000" y="8461525"/>
                  <a:ext cx="6048000" cy="0"/>
                </a:xfrm>
                <a:prstGeom prst="line">
                  <a:avLst/>
                </a:prstGeom>
                <a:ln w="9525" cap="flat">
                  <a:solidFill>
                    <a:srgbClr val="D1081B">
                      <a:alpha val="40000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AutoShape 65"/>
                <p:cNvSpPr/>
                <p:nvPr/>
              </p:nvSpPr>
              <p:spPr>
                <a:xfrm>
                  <a:off x="1262808" y="2350484"/>
                  <a:ext cx="0" cy="365388"/>
                </a:xfrm>
                <a:prstGeom prst="line">
                  <a:avLst/>
                </a:prstGeom>
                <a:ln w="9525" cap="flat">
                  <a:solidFill>
                    <a:srgbClr val="FFFFFF">
                      <a:alpha val="40000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27" name="AutoShape 65">
                  <a:extLst>
                    <a:ext uri="{FF2B5EF4-FFF2-40B4-BE49-F238E27FC236}">
                      <a16:creationId xmlns:a16="http://schemas.microsoft.com/office/drawing/2014/main" id="{2B7E53BA-2A57-1A58-53DA-0798B32BB677}"/>
                    </a:ext>
                  </a:extLst>
                </p:cNvPr>
                <p:cNvSpPr/>
                <p:nvPr/>
              </p:nvSpPr>
              <p:spPr>
                <a:xfrm>
                  <a:off x="3108285" y="2350484"/>
                  <a:ext cx="0" cy="365388"/>
                </a:xfrm>
                <a:prstGeom prst="line">
                  <a:avLst/>
                </a:prstGeom>
                <a:ln w="9525" cap="flat">
                  <a:solidFill>
                    <a:srgbClr val="FFFFFF">
                      <a:alpha val="40000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28" name="AutoShape 65">
                  <a:extLst>
                    <a:ext uri="{FF2B5EF4-FFF2-40B4-BE49-F238E27FC236}">
                      <a16:creationId xmlns:a16="http://schemas.microsoft.com/office/drawing/2014/main" id="{A41A81CA-B3FB-168E-3BCD-A4CE0094ADD1}"/>
                    </a:ext>
                  </a:extLst>
                </p:cNvPr>
                <p:cNvSpPr/>
                <p:nvPr/>
              </p:nvSpPr>
              <p:spPr>
                <a:xfrm>
                  <a:off x="4953761" y="2350484"/>
                  <a:ext cx="0" cy="365388"/>
                </a:xfrm>
                <a:prstGeom prst="line">
                  <a:avLst/>
                </a:prstGeom>
                <a:ln w="9525" cap="flat">
                  <a:solidFill>
                    <a:srgbClr val="FFFFFF">
                      <a:alpha val="40000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90" name="Freeform 90"/>
              <p:cNvSpPr/>
              <p:nvPr/>
            </p:nvSpPr>
            <p:spPr>
              <a:xfrm>
                <a:off x="915944" y="2425161"/>
                <a:ext cx="191682" cy="216035"/>
              </a:xfrm>
              <a:custGeom>
                <a:avLst/>
                <a:gdLst/>
                <a:ahLst/>
                <a:cxnLst/>
                <a:rect l="l" t="t" r="r" b="b"/>
                <a:pathLst>
                  <a:path w="255576" h="288046">
                    <a:moveTo>
                      <a:pt x="0" y="0"/>
                    </a:moveTo>
                    <a:lnTo>
                      <a:pt x="255576" y="0"/>
                    </a:lnTo>
                    <a:lnTo>
                      <a:pt x="255576" y="288046"/>
                    </a:lnTo>
                    <a:lnTo>
                      <a:pt x="0" y="288046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360131BD-1C22-5831-3180-DC0485CEF881}"/>
                  </a:ext>
                </a:extLst>
              </p:cNvPr>
              <p:cNvGrpSpPr/>
              <p:nvPr/>
            </p:nvGrpSpPr>
            <p:grpSpPr>
              <a:xfrm>
                <a:off x="884357" y="2421735"/>
                <a:ext cx="5353874" cy="7119371"/>
                <a:chOff x="884357" y="2421735"/>
                <a:chExt cx="5353874" cy="7119371"/>
              </a:xfrm>
            </p:grpSpPr>
            <p:sp>
              <p:nvSpPr>
                <p:cNvPr id="73" name="TextBox 73"/>
                <p:cNvSpPr txBox="1"/>
                <p:nvPr/>
              </p:nvSpPr>
              <p:spPr>
                <a:xfrm rot="-5400000">
                  <a:off x="611954" y="3347251"/>
                  <a:ext cx="718700" cy="17389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ts val="1624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649" b="1" i="0" u="none" strike="noStrike" kern="1200" cap="none" spc="64" normalizeH="0" baseline="0" noProof="0" dirty="0">
                      <a:ln>
                        <a:noFill/>
                      </a:ln>
                      <a:solidFill>
                        <a:srgbClr val="D1081B"/>
                      </a:solidFill>
                      <a:effectLst/>
                      <a:uLnTx/>
                      <a:uFillTx/>
                      <a:latin typeface="Quicksand" pitchFamily="2" charset="0"/>
                    </a:rPr>
                    <a:t>MAIN DISHES</a:t>
                  </a:r>
                </a:p>
              </p:txBody>
            </p:sp>
            <p:sp>
              <p:nvSpPr>
                <p:cNvPr id="74" name="TextBox 74"/>
                <p:cNvSpPr txBox="1"/>
                <p:nvPr/>
              </p:nvSpPr>
              <p:spPr>
                <a:xfrm rot="-5400000">
                  <a:off x="611954" y="4785331"/>
                  <a:ext cx="718700" cy="17389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ts val="1624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649" b="1" i="0" u="none" strike="noStrike" kern="1200" cap="none" spc="64" normalizeH="0" baseline="0" noProof="0">
                      <a:ln>
                        <a:noFill/>
                      </a:ln>
                      <a:solidFill>
                        <a:srgbClr val="D1081B"/>
                      </a:solidFill>
                      <a:effectLst/>
                      <a:uLnTx/>
                      <a:uFillTx/>
                      <a:latin typeface="Quicksand" pitchFamily="2" charset="0"/>
                    </a:rPr>
                    <a:t>SIDE DISHES</a:t>
                  </a:r>
                </a:p>
              </p:txBody>
            </p:sp>
            <p:sp>
              <p:nvSpPr>
                <p:cNvPr id="75" name="TextBox 75"/>
                <p:cNvSpPr txBox="1"/>
                <p:nvPr/>
              </p:nvSpPr>
              <p:spPr>
                <a:xfrm rot="-5400000">
                  <a:off x="611954" y="6221030"/>
                  <a:ext cx="718700" cy="17389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ts val="1624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649" b="1" i="0" u="none" strike="noStrike" kern="1200" cap="none" spc="64" normalizeH="0" baseline="0" noProof="0">
                      <a:ln>
                        <a:noFill/>
                      </a:ln>
                      <a:solidFill>
                        <a:srgbClr val="D1081B"/>
                      </a:solidFill>
                      <a:effectLst/>
                      <a:uLnTx/>
                      <a:uFillTx/>
                      <a:latin typeface="Quicksand" pitchFamily="2" charset="0"/>
                    </a:rPr>
                    <a:t>DESSERTS</a:t>
                  </a:r>
                </a:p>
              </p:txBody>
            </p:sp>
            <p:sp>
              <p:nvSpPr>
                <p:cNvPr id="76" name="TextBox 76"/>
                <p:cNvSpPr txBox="1"/>
                <p:nvPr/>
              </p:nvSpPr>
              <p:spPr>
                <a:xfrm rot="-5400000">
                  <a:off x="611954" y="7656729"/>
                  <a:ext cx="718700" cy="17389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ts val="1624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649" b="1" i="0" u="none" strike="noStrike" kern="1200" cap="none" spc="64" normalizeH="0" baseline="0" noProof="0">
                      <a:ln>
                        <a:noFill/>
                      </a:ln>
                      <a:solidFill>
                        <a:srgbClr val="D1081B"/>
                      </a:solidFill>
                      <a:effectLst/>
                      <a:uLnTx/>
                      <a:uFillTx/>
                      <a:latin typeface="Quicksand" pitchFamily="2" charset="0"/>
                    </a:rPr>
                    <a:t>DRINKS </a:t>
                  </a:r>
                </a:p>
              </p:txBody>
            </p:sp>
            <p:sp>
              <p:nvSpPr>
                <p:cNvPr id="77" name="TextBox 77"/>
                <p:cNvSpPr txBox="1"/>
                <p:nvPr/>
              </p:nvSpPr>
              <p:spPr>
                <a:xfrm rot="-5400000">
                  <a:off x="611954" y="9094809"/>
                  <a:ext cx="718700" cy="17389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ts val="1624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649" b="1" i="0" u="none" strike="noStrike" kern="1200" cap="none" spc="64" normalizeH="0" baseline="0" noProof="0" dirty="0">
                      <a:ln>
                        <a:noFill/>
                      </a:ln>
                      <a:solidFill>
                        <a:srgbClr val="D1081B"/>
                      </a:solidFill>
                      <a:effectLst/>
                      <a:uLnTx/>
                      <a:uFillTx/>
                      <a:latin typeface="Quicksand" pitchFamily="2" charset="0"/>
                    </a:rPr>
                    <a:t>OTHERS</a:t>
                  </a:r>
                </a:p>
              </p:txBody>
            </p:sp>
            <p:sp>
              <p:nvSpPr>
                <p:cNvPr id="87" name="TextBox 87"/>
                <p:cNvSpPr txBox="1"/>
                <p:nvPr/>
              </p:nvSpPr>
              <p:spPr>
                <a:xfrm>
                  <a:off x="1826197" y="2421735"/>
                  <a:ext cx="718700" cy="17389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ts val="1624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649" b="1" i="0" u="none" strike="noStrike" kern="1200" cap="none" spc="64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Quicksand" pitchFamily="2" charset="0"/>
                    </a:rPr>
                    <a:t>NAME</a:t>
                  </a:r>
                </a:p>
              </p:txBody>
            </p:sp>
            <p:sp>
              <p:nvSpPr>
                <p:cNvPr id="88" name="TextBox 88"/>
                <p:cNvSpPr txBox="1"/>
                <p:nvPr/>
              </p:nvSpPr>
              <p:spPr>
                <a:xfrm>
                  <a:off x="3671673" y="2421735"/>
                  <a:ext cx="718700" cy="17389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ts val="1624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649" b="1" i="0" u="none" strike="noStrike" kern="1200" cap="none" spc="64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Quicksand" pitchFamily="2" charset="0"/>
                    </a:rPr>
                    <a:t>DISH</a:t>
                  </a:r>
                </a:p>
              </p:txBody>
            </p:sp>
            <p:sp>
              <p:nvSpPr>
                <p:cNvPr id="89" name="TextBox 89"/>
                <p:cNvSpPr txBox="1"/>
                <p:nvPr/>
              </p:nvSpPr>
              <p:spPr>
                <a:xfrm>
                  <a:off x="5519531" y="2421735"/>
                  <a:ext cx="718700" cy="17389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ts val="1624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649" b="1" i="0" u="none" strike="noStrike" kern="1200" cap="none" spc="64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Quicksand" pitchFamily="2" charset="0"/>
                    </a:rPr>
                    <a:t>NOTE</a:t>
                  </a:r>
                </a:p>
              </p:txBody>
            </p:sp>
          </p:grp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7B960E8-148D-CB4F-7288-1EE6EBC9DD39}"/>
                </a:ext>
              </a:extLst>
            </p:cNvPr>
            <p:cNvGrpSpPr/>
            <p:nvPr/>
          </p:nvGrpSpPr>
          <p:grpSpPr>
            <a:xfrm>
              <a:off x="756000" y="712973"/>
              <a:ext cx="6129783" cy="1266995"/>
              <a:chOff x="756000" y="712973"/>
              <a:chExt cx="6129783" cy="1266995"/>
            </a:xfrm>
          </p:grpSpPr>
          <p:sp>
            <p:nvSpPr>
              <p:cNvPr id="68" name="Freeform 68"/>
              <p:cNvSpPr/>
              <p:nvPr/>
            </p:nvSpPr>
            <p:spPr>
              <a:xfrm>
                <a:off x="1452962" y="1098946"/>
                <a:ext cx="285234" cy="354929"/>
              </a:xfrm>
              <a:custGeom>
                <a:avLst/>
                <a:gdLst/>
                <a:ahLst/>
                <a:cxnLst/>
                <a:rect l="l" t="t" r="r" b="b"/>
                <a:pathLst>
                  <a:path w="285234" h="354929">
                    <a:moveTo>
                      <a:pt x="0" y="0"/>
                    </a:moveTo>
                    <a:lnTo>
                      <a:pt x="285234" y="0"/>
                    </a:lnTo>
                    <a:lnTo>
                      <a:pt x="285234" y="354929"/>
                    </a:lnTo>
                    <a:lnTo>
                      <a:pt x="0" y="354929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" name="Freeform 69"/>
              <p:cNvSpPr/>
              <p:nvPr/>
            </p:nvSpPr>
            <p:spPr>
              <a:xfrm>
                <a:off x="5821804" y="1098946"/>
                <a:ext cx="285234" cy="354929"/>
              </a:xfrm>
              <a:custGeom>
                <a:avLst/>
                <a:gdLst/>
                <a:ahLst/>
                <a:cxnLst/>
                <a:rect l="l" t="t" r="r" b="b"/>
                <a:pathLst>
                  <a:path w="285234" h="354929">
                    <a:moveTo>
                      <a:pt x="0" y="0"/>
                    </a:moveTo>
                    <a:lnTo>
                      <a:pt x="285234" y="0"/>
                    </a:lnTo>
                    <a:lnTo>
                      <a:pt x="285234" y="354929"/>
                    </a:lnTo>
                    <a:lnTo>
                      <a:pt x="0" y="354929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4" name="Group 3">
                <a:extLst>
                  <a:ext uri="{FF2B5EF4-FFF2-40B4-BE49-F238E27FC236}">
                    <a16:creationId xmlns:a16="http://schemas.microsoft.com/office/drawing/2014/main" id="{2B43B439-14F0-EBDC-F156-CD45FAF9DF16}"/>
                  </a:ext>
                </a:extLst>
              </p:cNvPr>
              <p:cNvGrpSpPr/>
              <p:nvPr/>
            </p:nvGrpSpPr>
            <p:grpSpPr>
              <a:xfrm>
                <a:off x="756000" y="1806074"/>
                <a:ext cx="6129783" cy="173894"/>
                <a:chOff x="756000" y="1806074"/>
                <a:chExt cx="6129783" cy="173894"/>
              </a:xfrm>
            </p:grpSpPr>
            <p:sp>
              <p:nvSpPr>
                <p:cNvPr id="71" name="TextBox 71"/>
                <p:cNvSpPr txBox="1"/>
                <p:nvPr/>
              </p:nvSpPr>
              <p:spPr>
                <a:xfrm>
                  <a:off x="756000" y="1806074"/>
                  <a:ext cx="2842792" cy="173894"/>
                </a:xfrm>
                <a:prstGeom prst="rect">
                  <a:avLst/>
                </a:prstGeom>
              </p:spPr>
              <p:txBody>
                <a:bodyPr wrap="square" lIns="0" tIns="0" rIns="0" bIns="0" rtlCol="0" anchor="t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ts val="1624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649" b="1" i="0" u="none" strike="noStrike" kern="1200" cap="none" spc="64" normalizeH="0" baseline="0" noProof="0" dirty="0">
                      <a:ln>
                        <a:noFill/>
                      </a:ln>
                      <a:solidFill>
                        <a:srgbClr val="D1081B"/>
                      </a:solidFill>
                      <a:effectLst/>
                      <a:uLnTx/>
                      <a:uFillTx/>
                      <a:latin typeface="Quicksand" pitchFamily="2" charset="0"/>
                    </a:rPr>
                    <a:t>DATE:</a:t>
                  </a:r>
                  <a:r>
                    <a:rPr kumimoji="0" lang="vi-VN" sz="649" b="1" i="0" u="none" strike="noStrike" kern="1200" cap="none" spc="64" normalizeH="0" baseline="0" noProof="0" dirty="0">
                      <a:ln>
                        <a:noFill/>
                      </a:ln>
                      <a:solidFill>
                        <a:srgbClr val="D1081B"/>
                      </a:solidFill>
                      <a:effectLst/>
                      <a:uLnTx/>
                      <a:uFillTx/>
                      <a:latin typeface="Quicksand" pitchFamily="2" charset="0"/>
                    </a:rPr>
                    <a:t> </a:t>
                  </a:r>
                  <a:r>
                    <a:rPr kumimoji="0" lang="en-US" sz="649" b="1" i="0" u="none" strike="noStrike" kern="1200" cap="none" spc="64" normalizeH="0" baseline="0" noProof="0" dirty="0">
                      <a:ln>
                        <a:noFill/>
                      </a:ln>
                      <a:solidFill>
                        <a:srgbClr val="D1081B"/>
                      </a:solidFill>
                      <a:effectLst/>
                      <a:uLnTx/>
                      <a:uFillTx/>
                      <a:latin typeface="Quicksand" pitchFamily="2" charset="0"/>
                    </a:rPr>
                    <a:t>___________________________________</a:t>
                  </a:r>
                </a:p>
              </p:txBody>
            </p:sp>
            <p:sp>
              <p:nvSpPr>
                <p:cNvPr id="72" name="TextBox 72"/>
                <p:cNvSpPr txBox="1"/>
                <p:nvPr/>
              </p:nvSpPr>
              <p:spPr>
                <a:xfrm>
                  <a:off x="3937279" y="1806074"/>
                  <a:ext cx="2948504" cy="173894"/>
                </a:xfrm>
                <a:prstGeom prst="rect">
                  <a:avLst/>
                </a:prstGeom>
              </p:spPr>
              <p:txBody>
                <a:bodyPr wrap="square" lIns="0" tIns="0" rIns="0" bIns="0" rtlCol="0" anchor="t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ts val="1624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649" b="1" i="0" u="none" strike="noStrike" kern="1200" cap="none" spc="64" normalizeH="0" baseline="0" noProof="0" dirty="0">
                      <a:ln>
                        <a:noFill/>
                      </a:ln>
                      <a:solidFill>
                        <a:srgbClr val="D1081B"/>
                      </a:solidFill>
                      <a:effectLst/>
                      <a:uLnTx/>
                      <a:uFillTx/>
                      <a:latin typeface="Quicksand" pitchFamily="2" charset="0"/>
                    </a:rPr>
                    <a:t>LOCATION:</a:t>
                  </a:r>
                  <a:r>
                    <a:rPr kumimoji="0" lang="vi-VN" sz="649" b="1" i="0" u="none" strike="noStrike" kern="1200" cap="none" spc="64" normalizeH="0" baseline="0" noProof="0" dirty="0">
                      <a:ln>
                        <a:noFill/>
                      </a:ln>
                      <a:solidFill>
                        <a:srgbClr val="D1081B"/>
                      </a:solidFill>
                      <a:effectLst/>
                      <a:uLnTx/>
                      <a:uFillTx/>
                      <a:latin typeface="Quicksand" pitchFamily="2" charset="0"/>
                    </a:rPr>
                    <a:t> </a:t>
                  </a:r>
                  <a:r>
                    <a:rPr kumimoji="0" lang="en-US" sz="649" b="1" i="0" u="none" strike="noStrike" kern="1200" cap="none" spc="64" normalizeH="0" baseline="0" noProof="0" dirty="0">
                      <a:ln>
                        <a:noFill/>
                      </a:ln>
                      <a:solidFill>
                        <a:srgbClr val="D1081B"/>
                      </a:solidFill>
                      <a:effectLst/>
                      <a:uLnTx/>
                      <a:uFillTx/>
                      <a:latin typeface="Quicksand" pitchFamily="2" charset="0"/>
                    </a:rPr>
                    <a:t>___________________________________</a:t>
                  </a:r>
                </a:p>
              </p:txBody>
            </p:sp>
          </p:grpSp>
          <p:sp>
            <p:nvSpPr>
              <p:cNvPr id="78" name="TextBox 78"/>
              <p:cNvSpPr txBox="1"/>
              <p:nvPr/>
            </p:nvSpPr>
            <p:spPr>
              <a:xfrm>
                <a:off x="1759328" y="850507"/>
                <a:ext cx="4041345" cy="88485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ts val="686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750" b="0" i="0" u="none" strike="noStrike" kern="1200" cap="none" spc="172" normalizeH="0" baseline="0" noProof="0" dirty="0">
                    <a:ln>
                      <a:noFill/>
                    </a:ln>
                    <a:solidFill>
                      <a:srgbClr val="D1081B"/>
                    </a:solidFill>
                    <a:effectLst/>
                    <a:uLnTx/>
                    <a:uFillTx/>
                    <a:latin typeface="Moontime"/>
                    <a:ea typeface="+mn-ea"/>
                    <a:cs typeface="+mn-cs"/>
                  </a:rPr>
                  <a:t>Christmas potluck </a:t>
                </a:r>
              </a:p>
            </p:txBody>
          </p:sp>
          <p:sp>
            <p:nvSpPr>
              <p:cNvPr id="79" name="TextBox 79"/>
              <p:cNvSpPr txBox="1"/>
              <p:nvPr/>
            </p:nvSpPr>
            <p:spPr>
              <a:xfrm>
                <a:off x="1346780" y="712973"/>
                <a:ext cx="4862940" cy="16496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ts val="1399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99" b="0" i="0" u="none" strike="noStrike" kern="1200" cap="none" spc="199" normalizeH="0" baseline="0" noProof="0" dirty="0">
                    <a:ln>
                      <a:noFill/>
                    </a:ln>
                    <a:solidFill>
                      <a:srgbClr val="D1081B"/>
                    </a:solidFill>
                    <a:effectLst/>
                    <a:uLnTx/>
                    <a:uFillTx/>
                    <a:latin typeface="Quicksand"/>
                    <a:ea typeface="+mn-ea"/>
                    <a:cs typeface="+mn-cs"/>
                  </a:rPr>
                  <a:t>SIGN-UP SHEET</a:t>
                </a:r>
              </a:p>
            </p:txBody>
          </p:sp>
        </p:grpSp>
        <p:sp>
          <p:nvSpPr>
            <p:cNvPr id="70" name="TemplateLAB"/>
            <p:cNvSpPr/>
            <p:nvPr/>
          </p:nvSpPr>
          <p:spPr>
            <a:xfrm rot="-5400000">
              <a:off x="6688922" y="9617586"/>
              <a:ext cx="488240" cy="80560"/>
            </a:xfrm>
            <a:custGeom>
              <a:avLst/>
              <a:gdLst/>
              <a:ahLst/>
              <a:cxnLst/>
              <a:rect l="l" t="t" r="r" b="b"/>
              <a:pathLst>
                <a:path w="488240" h="80560">
                  <a:moveTo>
                    <a:pt x="0" y="0"/>
                  </a:moveTo>
                  <a:lnTo>
                    <a:pt x="488240" y="0"/>
                  </a:lnTo>
                  <a:lnTo>
                    <a:pt x="488240" y="80560"/>
                  </a:lnTo>
                  <a:lnTo>
                    <a:pt x="0" y="8056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5</TotalTime>
  <Words>20</Words>
  <Application>Microsoft Office PowerPoint</Application>
  <PresentationFormat>Custom</PresentationFormat>
  <Paragraphs>12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Moontime</vt:lpstr>
      <vt:lpstr>Calibri</vt:lpstr>
      <vt:lpstr>Quicksand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of Potluck sign up sheet</dc:title>
  <dc:creator>Hoang Anh</dc:creator>
  <cp:lastModifiedBy>Hoang Anh</cp:lastModifiedBy>
  <cp:revision>25</cp:revision>
  <dcterms:created xsi:type="dcterms:W3CDTF">2006-08-16T00:00:00Z</dcterms:created>
  <dcterms:modified xsi:type="dcterms:W3CDTF">2024-03-22T09:03:09Z</dcterms:modified>
  <dc:identifier>DAGAMtRJytg</dc:identifier>
</cp:coreProperties>
</file>